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903" autoAdjust="0"/>
    <p:restoredTop sz="94660"/>
  </p:normalViewPr>
  <p:slideViewPr>
    <p:cSldViewPr snapToGrid="0">
      <p:cViewPr varScale="1">
        <p:scale>
          <a:sx n="97" d="100"/>
          <a:sy n="97" d="100"/>
        </p:scale>
        <p:origin x="941" y="5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8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67466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8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1722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8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139436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8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73547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8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3262953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8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11976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8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01286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8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50755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8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34516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8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0509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8/26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98795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8/26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6866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8/26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0013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8/26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26617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8/26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47221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8/26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99544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4A3915-4692-486F-837A-5768755CCE49}" type="datetimeFigureOut">
              <a:rPr lang="en-US" smtClean="0"/>
              <a:t>8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88033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21.xml"/><Relationship Id="rId7" Type="http://schemas.openxmlformats.org/officeDocument/2006/relationships/image" Target="../media/image6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23.xml"/><Relationship Id="rId7" Type="http://schemas.openxmlformats.org/officeDocument/2006/relationships/image" Target="../media/image6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25.xml"/><Relationship Id="rId7" Type="http://schemas.openxmlformats.org/officeDocument/2006/relationships/image" Target="../media/image6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2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5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5.xml"/><Relationship Id="rId7" Type="http://schemas.openxmlformats.org/officeDocument/2006/relationships/image" Target="../media/image6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8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9.xml"/><Relationship Id="rId7" Type="http://schemas.openxmlformats.org/officeDocument/2006/relationships/image" Target="../media/image6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39B14C3-0F7F-48B0-B2E3-0D879F67EA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3289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9" name="think-cell Slide" r:id="rId5" imgW="473" imgH="471" progId="TCLayout.ActiveDocument.1">
                  <p:embed/>
                </p:oleObj>
              </mc:Choice>
              <mc:Fallback>
                <p:oleObj name="think-cell Slide" r:id="rId5" imgW="473" imgH="47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C394B57-A94F-493A-BF68-2FDFB68BE7F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54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EA6804-16C7-42D3-8447-3237150D611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5798" y="1910145"/>
            <a:ext cx="7766936" cy="1646302"/>
          </a:xfrm>
        </p:spPr>
        <p:txBody>
          <a:bodyPr/>
          <a:lstStyle/>
          <a:p>
            <a:r>
              <a:rPr lang="en-US" dirty="0"/>
              <a:t>SQL Introduction</a:t>
            </a:r>
          </a:p>
        </p:txBody>
      </p:sp>
    </p:spTree>
    <p:extLst>
      <p:ext uri="{BB962C8B-B14F-4D97-AF65-F5344CB8AC3E}">
        <p14:creationId xmlns:p14="http://schemas.microsoft.com/office/powerpoint/2010/main" val="30441977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9101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4" name="think-cell Slide" r:id="rId5" imgW="473" imgH="471" progId="TCLayout.ActiveDocument.1">
                  <p:embed/>
                </p:oleObj>
              </mc:Choice>
              <mc:Fallback>
                <p:oleObj name="think-cell Slide" r:id="rId5" imgW="473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99960-EAED-4DD5-98F8-A088DFCD2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ft Joi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D41A065-FC17-4281-A29C-AAE899B4A55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1090" y="2132572"/>
            <a:ext cx="8812912" cy="2750060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0C7D9DC-DAD3-47FE-A915-98E789BD21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4" y="1456195"/>
            <a:ext cx="8596668" cy="578761"/>
          </a:xfrm>
        </p:spPr>
        <p:txBody>
          <a:bodyPr>
            <a:normAutofit fontScale="70000" lnSpcReduction="20000"/>
          </a:bodyPr>
          <a:lstStyle/>
          <a:p>
            <a:r>
              <a:rPr lang="en-US" dirty="0"/>
              <a:t>All Customer IDs 1, 2, 3, 4 &amp; 5 from the left table will be included in the joined table but since IDs 4 &amp; 5 aren’t present in the right table, the Order date and amount (information fetched from the right table) will be NUL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E6523EA-D508-4A73-B6C8-F72E26C3BB2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61271" y="4980248"/>
            <a:ext cx="8295227" cy="1646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72314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030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4" name="think-cell Slide" r:id="rId5" imgW="473" imgH="471" progId="TCLayout.ActiveDocument.1">
                  <p:embed/>
                </p:oleObj>
              </mc:Choice>
              <mc:Fallback>
                <p:oleObj name="think-cell Slide" r:id="rId5" imgW="473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99960-EAED-4DD5-98F8-A088DFCD2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Joi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D41A065-FC17-4281-A29C-AAE899B4A55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1090" y="2132572"/>
            <a:ext cx="8812912" cy="2750060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0C7D9DC-DAD3-47FE-A915-98E789BD21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4" y="1456195"/>
            <a:ext cx="8596668" cy="578761"/>
          </a:xfrm>
        </p:spPr>
        <p:txBody>
          <a:bodyPr>
            <a:normAutofit fontScale="70000" lnSpcReduction="20000"/>
          </a:bodyPr>
          <a:lstStyle/>
          <a:p>
            <a:r>
              <a:rPr lang="en-US" dirty="0"/>
              <a:t>All Customer IDs 1, 2, 3, 9 &amp; 10 from the right table will be included in the joined table but since IDs 9 &amp; 10 aren’t present in the left table, the First and Last name (information fetched from the left table) will be NUL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60D2B62-8CBD-4A1E-96AC-41EE1633752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4317" y="4935868"/>
            <a:ext cx="7586457" cy="1527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31002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8779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4" name="think-cell Slide" r:id="rId5" imgW="473" imgH="471" progId="TCLayout.ActiveDocument.1">
                  <p:embed/>
                </p:oleObj>
              </mc:Choice>
              <mc:Fallback>
                <p:oleObj name="think-cell Slide" r:id="rId5" imgW="473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99960-EAED-4DD5-98F8-A088DFCD2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ll Joi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D41A065-FC17-4281-A29C-AAE899B4A55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1090" y="2132572"/>
            <a:ext cx="8812912" cy="2750060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0C7D9DC-DAD3-47FE-A915-98E789BD21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4" y="1456195"/>
            <a:ext cx="8596668" cy="578761"/>
          </a:xfrm>
        </p:spPr>
        <p:txBody>
          <a:bodyPr>
            <a:normAutofit fontScale="85000" lnSpcReduction="10000"/>
          </a:bodyPr>
          <a:lstStyle/>
          <a:p>
            <a:r>
              <a:rPr lang="en-US" dirty="0"/>
              <a:t>All Customer IDs 1, 2, 3, 4, 5, 9 &amp; 10 from both the tables will be included in the joined table as Full join returns all records when there is a match in either left or right tab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504BD52-7B7F-4F36-A276-D2D6D1C8551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38159" y="4882632"/>
            <a:ext cx="7573332" cy="1878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22733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8882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2" name="think-cell Slide" r:id="rId5" imgW="473" imgH="471" progId="TCLayout.ActiveDocument.1">
                  <p:embed/>
                </p:oleObj>
              </mc:Choice>
              <mc:Fallback>
                <p:oleObj name="think-cell Slide" r:id="rId5" imgW="473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99960-EAED-4DD5-98F8-A088DFCD2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QL Unio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0C7D9DC-DAD3-47FE-A915-98E789BD21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4" y="1456195"/>
            <a:ext cx="8596668" cy="1247629"/>
          </a:xfrm>
        </p:spPr>
        <p:txBody>
          <a:bodyPr>
            <a:normAutofit fontScale="85000" lnSpcReduction="20000"/>
          </a:bodyPr>
          <a:lstStyle/>
          <a:p>
            <a:r>
              <a:rPr lang="en-US" dirty="0"/>
              <a:t>The UNION operator is used to combine the result-set of two or more SELECT statements.</a:t>
            </a:r>
          </a:p>
          <a:p>
            <a:pPr lvl="1"/>
            <a:r>
              <a:rPr lang="en-US" dirty="0"/>
              <a:t>Each SELECT statement within UNION must have the same number of columns</a:t>
            </a:r>
          </a:p>
          <a:p>
            <a:pPr lvl="1"/>
            <a:r>
              <a:rPr lang="en-US" dirty="0"/>
              <a:t>The columns must also have similar data types</a:t>
            </a:r>
          </a:p>
          <a:p>
            <a:pPr lvl="1"/>
            <a:r>
              <a:rPr lang="en-US" dirty="0"/>
              <a:t>The columns in each SELECT statement must also be in the same order</a:t>
            </a:r>
            <a:endParaRPr lang="en-US" dirty="0">
              <a:effectLst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DAB1D27-0686-42CE-9580-9C34D7F0D59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7587" y="2776995"/>
            <a:ext cx="7179509" cy="4055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9934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6869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2" name="think-cell Slide" r:id="rId5" imgW="473" imgH="471" progId="TCLayout.ActiveDocument.1">
                  <p:embed/>
                </p:oleObj>
              </mc:Choice>
              <mc:Fallback>
                <p:oleObj name="think-cell Slide" r:id="rId5" imgW="473" imgH="47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a Relational Database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5389AF-B5FB-48BE-9AF8-62B0A3CE63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4" y="1744953"/>
            <a:ext cx="8596668" cy="1838270"/>
          </a:xfrm>
        </p:spPr>
        <p:txBody>
          <a:bodyPr/>
          <a:lstStyle/>
          <a:p>
            <a:r>
              <a:rPr lang="en-US" dirty="0"/>
              <a:t>A relational database is a set of formally described tables from which data can be accessed or reassembled in many different ways without having to reorganize the database tables</a:t>
            </a:r>
          </a:p>
          <a:p>
            <a:r>
              <a:rPr lang="en-US" dirty="0"/>
              <a:t>Popular examples of relational databases include Microsoft SQL Server, Oracle Database, MySQL and IBM DB2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480BEE1-2D4F-4806-80E4-C785DACB597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617" y="3688226"/>
            <a:ext cx="5988101" cy="2154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16985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2056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3" name="think-cell Slide" r:id="rId5" imgW="473" imgH="471" progId="TCLayout.ActiveDocument.1">
                  <p:embed/>
                </p:oleObj>
              </mc:Choice>
              <mc:Fallback>
                <p:oleObj name="think-cell Slide" r:id="rId5" imgW="473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99960-EAED-4DD5-98F8-A088DFCD2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829814"/>
          </a:xfrm>
        </p:spPr>
        <p:txBody>
          <a:bodyPr/>
          <a:lstStyle/>
          <a:p>
            <a:r>
              <a:rPr lang="en-US" dirty="0"/>
              <a:t>What is SQL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5389AF-B5FB-48BE-9AF8-62B0A3CE63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4" y="1744953"/>
            <a:ext cx="8596668" cy="1838270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SQL (Structured Query Language) is used to perform operations on the records stored in the database such as updating records, deleting records, creating and modifying tables, views, etc.</a:t>
            </a:r>
          </a:p>
          <a:p>
            <a:endParaRPr lang="en-US" dirty="0"/>
          </a:p>
          <a:p>
            <a:r>
              <a:rPr lang="en-US" dirty="0"/>
              <a:t>SQL is just a query language; it is not a database. To perform SQL queries, you need to install any database, for example, Oracle, MySQL, MongoDB, </a:t>
            </a:r>
            <a:r>
              <a:rPr lang="en-US" dirty="0" err="1"/>
              <a:t>PostGre</a:t>
            </a:r>
            <a:r>
              <a:rPr lang="en-US" dirty="0"/>
              <a:t> SQL, SQL Server, DB2, etc.</a:t>
            </a:r>
          </a:p>
        </p:txBody>
      </p:sp>
      <p:pic>
        <p:nvPicPr>
          <p:cNvPr id="8" name="Picture 7" descr="A screenshot of a social media post&#10;&#10;Description generated with very high confidence">
            <a:extLst>
              <a:ext uri="{FF2B5EF4-FFF2-40B4-BE49-F238E27FC236}">
                <a16:creationId xmlns:a16="http://schemas.microsoft.com/office/drawing/2014/main" id="{623C48DC-8A82-4675-BE59-573D3035456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66" r="7985" b="14960"/>
          <a:stretch/>
        </p:blipFill>
        <p:spPr>
          <a:xfrm>
            <a:off x="1940988" y="3641530"/>
            <a:ext cx="5829223" cy="3062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19727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1772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3" name="think-cell Slide" r:id="rId5" imgW="473" imgH="471" progId="TCLayout.ActiveDocument.1">
                  <p:embed/>
                </p:oleObj>
              </mc:Choice>
              <mc:Fallback>
                <p:oleObj name="think-cell Slide" r:id="rId5" imgW="473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99960-EAED-4DD5-98F8-A088DFCD2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829814"/>
          </a:xfrm>
        </p:spPr>
        <p:txBody>
          <a:bodyPr/>
          <a:lstStyle/>
          <a:p>
            <a:r>
              <a:rPr lang="en-US" dirty="0"/>
              <a:t>Datatypes in SQL</a:t>
            </a:r>
          </a:p>
        </p:txBody>
      </p:sp>
      <p:pic>
        <p:nvPicPr>
          <p:cNvPr id="10" name="Picture 9" descr="A close up of text on a white background&#10;&#10;Description generated with high confidence">
            <a:extLst>
              <a:ext uri="{FF2B5EF4-FFF2-40B4-BE49-F238E27FC236}">
                <a16:creationId xmlns:a16="http://schemas.microsoft.com/office/drawing/2014/main" id="{8C254626-575E-441E-946C-FE111450B581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65" t="8699" r="7336" b="12495"/>
          <a:stretch/>
        </p:blipFill>
        <p:spPr>
          <a:xfrm>
            <a:off x="1242533" y="1535666"/>
            <a:ext cx="7717712" cy="5068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6037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6027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9" name="think-cell Slide" r:id="rId5" imgW="473" imgH="471" progId="TCLayout.ActiveDocument.1">
                  <p:embed/>
                </p:oleObj>
              </mc:Choice>
              <mc:Fallback>
                <p:oleObj name="think-cell Slide" r:id="rId5" imgW="473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99960-EAED-4DD5-98F8-A088DFCD2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829814"/>
          </a:xfrm>
        </p:spPr>
        <p:txBody>
          <a:bodyPr/>
          <a:lstStyle/>
          <a:p>
            <a:r>
              <a:rPr lang="en-US" dirty="0"/>
              <a:t>Types of SQL comman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5389AF-B5FB-48BE-9AF8-62B0A3CE63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4" y="1744953"/>
            <a:ext cx="8842926" cy="3798324"/>
          </a:xfrm>
        </p:spPr>
        <p:txBody>
          <a:bodyPr>
            <a:normAutofit/>
          </a:bodyPr>
          <a:lstStyle/>
          <a:p>
            <a:r>
              <a:rPr lang="en-US" dirty="0"/>
              <a:t>SQL Categorizes its commands on the basis of functionalities performed by them. There are five types of SQL Commands which can be classified as: ◦</a:t>
            </a:r>
          </a:p>
          <a:p>
            <a:pPr lvl="1">
              <a:lnSpc>
                <a:spcPct val="200000"/>
              </a:lnSpc>
            </a:pPr>
            <a:r>
              <a:rPr lang="en-US" dirty="0"/>
              <a:t>DDL(Data Definition Language) – Create, Alter, Rename, Drop, Truncate</a:t>
            </a:r>
          </a:p>
          <a:p>
            <a:pPr lvl="1">
              <a:lnSpc>
                <a:spcPct val="200000"/>
              </a:lnSpc>
            </a:pPr>
            <a:r>
              <a:rPr lang="en-US" dirty="0"/>
              <a:t>DML(Data Manipulation Language) – Insert, Delete, Update</a:t>
            </a:r>
          </a:p>
          <a:p>
            <a:pPr lvl="1">
              <a:lnSpc>
                <a:spcPct val="200000"/>
              </a:lnSpc>
            </a:pPr>
            <a:r>
              <a:rPr lang="en-US" dirty="0"/>
              <a:t>DQL(Data Query Language) - Select</a:t>
            </a:r>
          </a:p>
          <a:p>
            <a:pPr lvl="1">
              <a:lnSpc>
                <a:spcPct val="200000"/>
              </a:lnSpc>
            </a:pPr>
            <a:r>
              <a:rPr lang="en-US" dirty="0"/>
              <a:t>DCL(Data Control Language) – Grant, Revoke</a:t>
            </a:r>
          </a:p>
          <a:p>
            <a:pPr lvl="1">
              <a:lnSpc>
                <a:spcPct val="200000"/>
              </a:lnSpc>
            </a:pPr>
            <a:r>
              <a:rPr lang="en-US" dirty="0"/>
              <a:t>TCL(Transaction Control Language) – Roll back, Commit, </a:t>
            </a:r>
            <a:r>
              <a:rPr lang="en-US" dirty="0" err="1"/>
              <a:t>Savepoi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8953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8651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6" name="think-cell Slide" r:id="rId5" imgW="473" imgH="471" progId="TCLayout.ActiveDocument.1">
                  <p:embed/>
                </p:oleObj>
              </mc:Choice>
              <mc:Fallback>
                <p:oleObj name="think-cell Slide" r:id="rId5" imgW="473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99960-EAED-4DD5-98F8-A088DFCD2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39C6FD52-EF1B-4E30-ABAF-1023829AFB4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1722"/>
          <a:stretch/>
        </p:blipFill>
        <p:spPr>
          <a:xfrm>
            <a:off x="546959" y="1612040"/>
            <a:ext cx="4872630" cy="338215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829814"/>
          </a:xfrm>
        </p:spPr>
        <p:txBody>
          <a:bodyPr/>
          <a:lstStyle/>
          <a:p>
            <a:r>
              <a:rPr lang="en-US" dirty="0"/>
              <a:t>Structure of SQL Query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FE465EF-E79A-4078-A874-CAAF48FD4E70}"/>
              </a:ext>
            </a:extLst>
          </p:cNvPr>
          <p:cNvGrpSpPr/>
          <p:nvPr/>
        </p:nvGrpSpPr>
        <p:grpSpPr>
          <a:xfrm>
            <a:off x="2086932" y="2201879"/>
            <a:ext cx="7096445" cy="433136"/>
            <a:chOff x="2463192" y="2218186"/>
            <a:chExt cx="7096445" cy="433136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00D7C7AA-8279-4958-9719-E65E570AEEC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63192" y="2436942"/>
              <a:ext cx="4060111" cy="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DB416615-B882-4CB4-999D-EA7A1002CCDC}"/>
                </a:ext>
              </a:extLst>
            </p:cNvPr>
            <p:cNvSpPr/>
            <p:nvPr/>
          </p:nvSpPr>
          <p:spPr>
            <a:xfrm>
              <a:off x="6663307" y="2292563"/>
              <a:ext cx="306259" cy="29313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1</a:t>
              </a:r>
              <a:endParaRPr lang="en-US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3E240FB-EFB3-4794-9E4C-5C3458297B9D}"/>
                </a:ext>
              </a:extLst>
            </p:cNvPr>
            <p:cNvSpPr/>
            <p:nvPr/>
          </p:nvSpPr>
          <p:spPr>
            <a:xfrm>
              <a:off x="7109570" y="2218186"/>
              <a:ext cx="2450067" cy="43313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r>
                <a:rPr lang="en-US" sz="1400" dirty="0"/>
                <a:t>(F) Table used</a:t>
              </a:r>
              <a:endParaRPr lang="en-US" dirty="0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2B10393-8E97-478E-9B59-A515D8022F14}"/>
              </a:ext>
            </a:extLst>
          </p:cNvPr>
          <p:cNvGrpSpPr/>
          <p:nvPr/>
        </p:nvGrpSpPr>
        <p:grpSpPr>
          <a:xfrm>
            <a:off x="2926226" y="2796096"/>
            <a:ext cx="5789012" cy="433136"/>
            <a:chOff x="2463192" y="2218186"/>
            <a:chExt cx="6528991" cy="433136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9C5DD583-D9A8-41DE-8876-FB33D3F9FF0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63192" y="2436943"/>
              <a:ext cx="3178555" cy="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E568352F-9CD4-4683-9353-306056E67E7B}"/>
                </a:ext>
              </a:extLst>
            </p:cNvPr>
            <p:cNvSpPr/>
            <p:nvPr/>
          </p:nvSpPr>
          <p:spPr>
            <a:xfrm>
              <a:off x="5885011" y="2288187"/>
              <a:ext cx="334056" cy="29313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2</a:t>
              </a:r>
              <a:endParaRPr lang="en-US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9594A01-D901-4632-B4E5-12166B1175B0}"/>
                </a:ext>
              </a:extLst>
            </p:cNvPr>
            <p:cNvSpPr/>
            <p:nvPr/>
          </p:nvSpPr>
          <p:spPr>
            <a:xfrm>
              <a:off x="6376968" y="2218186"/>
              <a:ext cx="2615215" cy="43313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r>
                <a:rPr lang="en-US" sz="1400" dirty="0"/>
                <a:t>(W) Condition applied</a:t>
              </a:r>
              <a:endParaRPr lang="en-US" dirty="0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153273A-FE56-47E7-B300-E674EE16EC20}"/>
              </a:ext>
            </a:extLst>
          </p:cNvPr>
          <p:cNvGrpSpPr/>
          <p:nvPr/>
        </p:nvGrpSpPr>
        <p:grpSpPr>
          <a:xfrm>
            <a:off x="2926226" y="3443207"/>
            <a:ext cx="5789012" cy="433136"/>
            <a:chOff x="2463192" y="2218186"/>
            <a:chExt cx="6528991" cy="433136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797B4F6B-1F40-454E-BA54-11D67DB0EF0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63192" y="2436943"/>
              <a:ext cx="3178555" cy="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0ECAE8CC-E9F1-45CC-A0AA-7DB3ED0B37B3}"/>
                </a:ext>
              </a:extLst>
            </p:cNvPr>
            <p:cNvSpPr/>
            <p:nvPr/>
          </p:nvSpPr>
          <p:spPr>
            <a:xfrm>
              <a:off x="5885011" y="2288187"/>
              <a:ext cx="334056" cy="29313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3</a:t>
              </a:r>
              <a:endParaRPr lang="en-US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A0CBBDD5-890D-4869-971E-C0CC0CA0A44A}"/>
                </a:ext>
              </a:extLst>
            </p:cNvPr>
            <p:cNvSpPr/>
            <p:nvPr/>
          </p:nvSpPr>
          <p:spPr>
            <a:xfrm>
              <a:off x="6376968" y="2218186"/>
              <a:ext cx="2615215" cy="43313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r>
                <a:rPr lang="en-US" sz="1400" dirty="0"/>
                <a:t>(G) Aggregation</a:t>
              </a:r>
              <a:endParaRPr lang="en-US" dirty="0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6318D6F-0845-43EA-BB9A-71DA035C084B}"/>
              </a:ext>
            </a:extLst>
          </p:cNvPr>
          <p:cNvGrpSpPr/>
          <p:nvPr/>
        </p:nvGrpSpPr>
        <p:grpSpPr>
          <a:xfrm>
            <a:off x="3144252" y="4068950"/>
            <a:ext cx="6236004" cy="433136"/>
            <a:chOff x="2463192" y="2218186"/>
            <a:chExt cx="6528991" cy="433136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018AAC22-DA49-48CC-AFC4-11F83DAC417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63192" y="2436943"/>
              <a:ext cx="3178555" cy="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ECBA7CE1-83EE-4362-BE7D-684BF9F81D64}"/>
                </a:ext>
              </a:extLst>
            </p:cNvPr>
            <p:cNvSpPr/>
            <p:nvPr/>
          </p:nvSpPr>
          <p:spPr>
            <a:xfrm>
              <a:off x="5885011" y="2288187"/>
              <a:ext cx="334056" cy="29313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5</a:t>
              </a:r>
              <a:endParaRPr lang="en-US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750F41B-288E-4C80-9B25-C0FB37F34AC6}"/>
                </a:ext>
              </a:extLst>
            </p:cNvPr>
            <p:cNvSpPr/>
            <p:nvPr/>
          </p:nvSpPr>
          <p:spPr>
            <a:xfrm>
              <a:off x="6376968" y="2218186"/>
              <a:ext cx="2615215" cy="43313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/>
                <a:t>(H) Condition on Aggregation</a:t>
              </a:r>
              <a:endParaRPr lang="en-US" dirty="0"/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3CA5574-8AFD-4648-9138-103C3FDCBF28}"/>
              </a:ext>
            </a:extLst>
          </p:cNvPr>
          <p:cNvGrpSpPr/>
          <p:nvPr/>
        </p:nvGrpSpPr>
        <p:grpSpPr>
          <a:xfrm>
            <a:off x="5419590" y="1595537"/>
            <a:ext cx="4196194" cy="433136"/>
            <a:chOff x="4598839" y="2218186"/>
            <a:chExt cx="4393344" cy="433136"/>
          </a:xfrm>
        </p:grpSpPr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BDBCAC61-46A1-4C2A-83F7-F686040717F9}"/>
                </a:ext>
              </a:extLst>
            </p:cNvPr>
            <p:cNvCxnSpPr>
              <a:cxnSpLocks/>
            </p:cNvCxnSpPr>
            <p:nvPr/>
          </p:nvCxnSpPr>
          <p:spPr>
            <a:xfrm>
              <a:off x="4598839" y="2434753"/>
              <a:ext cx="1042908" cy="219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1B1DE5E-ADAE-4E6A-AEE2-DCCE8CA7E9D0}"/>
                </a:ext>
              </a:extLst>
            </p:cNvPr>
            <p:cNvSpPr/>
            <p:nvPr/>
          </p:nvSpPr>
          <p:spPr>
            <a:xfrm>
              <a:off x="5885011" y="2288187"/>
              <a:ext cx="334056" cy="29313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4</a:t>
              </a:r>
              <a:endParaRPr lang="en-US" dirty="0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8F22C85C-9657-4D5B-B92D-159551EBFCFA}"/>
                </a:ext>
              </a:extLst>
            </p:cNvPr>
            <p:cNvSpPr/>
            <p:nvPr/>
          </p:nvSpPr>
          <p:spPr>
            <a:xfrm>
              <a:off x="6376968" y="2218186"/>
              <a:ext cx="2615215" cy="43313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/>
                <a:t>(S) Select fields</a:t>
              </a:r>
              <a:endParaRPr lang="en-US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4B71DBF-88B5-49F4-B92D-67A9B22271F0}"/>
              </a:ext>
            </a:extLst>
          </p:cNvPr>
          <p:cNvGrpSpPr/>
          <p:nvPr/>
        </p:nvGrpSpPr>
        <p:grpSpPr>
          <a:xfrm>
            <a:off x="3138418" y="4676607"/>
            <a:ext cx="6236004" cy="433136"/>
            <a:chOff x="2463192" y="2218186"/>
            <a:chExt cx="6528991" cy="433136"/>
          </a:xfrm>
        </p:grpSpPr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F2633864-8CB2-43EA-9BD8-CA64552D56F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63192" y="2436943"/>
              <a:ext cx="3178555" cy="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6B159D19-AD91-46C0-8EFC-0F2E46B8DCB6}"/>
                </a:ext>
              </a:extLst>
            </p:cNvPr>
            <p:cNvSpPr/>
            <p:nvPr/>
          </p:nvSpPr>
          <p:spPr>
            <a:xfrm>
              <a:off x="5885011" y="2288187"/>
              <a:ext cx="334056" cy="29313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6</a:t>
              </a:r>
              <a:endParaRPr lang="en-US" dirty="0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3CE03F6B-FEF9-437D-9D7C-34BBE49FBAF4}"/>
                </a:ext>
              </a:extLst>
            </p:cNvPr>
            <p:cNvSpPr/>
            <p:nvPr/>
          </p:nvSpPr>
          <p:spPr>
            <a:xfrm>
              <a:off x="6376968" y="2218186"/>
              <a:ext cx="2615215" cy="43313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/>
                <a:t>(O) Sorting of results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5965302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9237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0" name="think-cell Slide" r:id="rId5" imgW="473" imgH="471" progId="TCLayout.ActiveDocument.1">
                  <p:embed/>
                </p:oleObj>
              </mc:Choice>
              <mc:Fallback>
                <p:oleObj name="think-cell Slide" r:id="rId5" imgW="473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99960-EAED-4DD5-98F8-A088DFCD2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QL Joi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5389AF-B5FB-48BE-9AF8-62B0A3CE63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4" y="1744953"/>
            <a:ext cx="8596668" cy="814492"/>
          </a:xfrm>
        </p:spPr>
        <p:txBody>
          <a:bodyPr/>
          <a:lstStyle/>
          <a:p>
            <a:r>
              <a:rPr lang="en-US" dirty="0"/>
              <a:t>A JOIN clause is used to combine rows from two or more tables, based on a related column between them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FE4FD57-7F12-4D1F-9605-0CAD01BFFB4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0017" y="2403831"/>
            <a:ext cx="8812912" cy="275006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7473529-C7F2-4560-BA77-B391C745229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7336" y="5254071"/>
            <a:ext cx="7736972" cy="1234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2243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530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1" name="think-cell Slide" r:id="rId5" imgW="473" imgH="471" progId="TCLayout.ActiveDocument.1">
                  <p:embed/>
                </p:oleObj>
              </mc:Choice>
              <mc:Fallback>
                <p:oleObj name="think-cell Slide" r:id="rId5" imgW="473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99960-EAED-4DD5-98F8-A088DFCD2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s of SQL Joi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5389AF-B5FB-48BE-9AF8-62B0A3CE63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4" y="1744952"/>
            <a:ext cx="8596668" cy="2695793"/>
          </a:xfrm>
        </p:spPr>
        <p:txBody>
          <a:bodyPr>
            <a:normAutofit/>
          </a:bodyPr>
          <a:lstStyle/>
          <a:p>
            <a:r>
              <a:rPr lang="en-US" dirty="0"/>
              <a:t>Types of SQL joins are –</a:t>
            </a:r>
          </a:p>
          <a:p>
            <a:pPr lvl="1"/>
            <a:r>
              <a:rPr lang="en-US" b="1" dirty="0"/>
              <a:t>(INNER) JOIN</a:t>
            </a:r>
            <a:r>
              <a:rPr lang="en-US" dirty="0"/>
              <a:t>: Returns records that have matching values in both tables</a:t>
            </a:r>
          </a:p>
          <a:p>
            <a:pPr lvl="1"/>
            <a:r>
              <a:rPr lang="en-US" b="1" dirty="0"/>
              <a:t>LEFT (OUTER) JOIN</a:t>
            </a:r>
            <a:r>
              <a:rPr lang="en-US" dirty="0"/>
              <a:t>: Returns all records from the left table, and the matched records from the right table</a:t>
            </a:r>
          </a:p>
          <a:p>
            <a:pPr lvl="1"/>
            <a:r>
              <a:rPr lang="en-US" b="1" dirty="0"/>
              <a:t>RIGHT (OUTER) JOIN</a:t>
            </a:r>
            <a:r>
              <a:rPr lang="en-US" dirty="0"/>
              <a:t>: Returns all records from the right table, and the matched records from the left table</a:t>
            </a:r>
          </a:p>
          <a:p>
            <a:pPr lvl="1"/>
            <a:r>
              <a:rPr lang="en-US" b="1" dirty="0"/>
              <a:t>FULL (OUTER) JOIN</a:t>
            </a:r>
            <a:r>
              <a:rPr lang="en-US" dirty="0"/>
              <a:t>: Returns all records when there is a match in either left or right table</a:t>
            </a:r>
          </a:p>
          <a:p>
            <a:pPr lvl="1"/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62E45E8-334E-4569-A575-FCB69E3632D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77760" y="4440745"/>
            <a:ext cx="6995816" cy="2071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397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9428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2" name="think-cell Slide" r:id="rId5" imgW="473" imgH="471" progId="TCLayout.ActiveDocument.1">
                  <p:embed/>
                </p:oleObj>
              </mc:Choice>
              <mc:Fallback>
                <p:oleObj name="think-cell Slide" r:id="rId5" imgW="473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99960-EAED-4DD5-98F8-A088DFCD2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ner Joi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D41A065-FC17-4281-A29C-AAE899B4A55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1090" y="2132572"/>
            <a:ext cx="8812912" cy="275006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947DDE4-BC31-40CB-BA32-7572D3192CB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40469" y="4987188"/>
            <a:ext cx="7736972" cy="123423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0C7D9DC-DAD3-47FE-A915-98E789BD21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4" y="1456195"/>
            <a:ext cx="8596668" cy="578761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Only Customer IDs 1, 2, &amp; 3 will be included in the joined table as Inner join returns records that have matching values in both tables</a:t>
            </a:r>
          </a:p>
        </p:txBody>
      </p:sp>
    </p:spTree>
    <p:extLst>
      <p:ext uri="{BB962C8B-B14F-4D97-AF65-F5344CB8AC3E}">
        <p14:creationId xmlns:p14="http://schemas.microsoft.com/office/powerpoint/2010/main" val="38616375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vTqUofSta0JVfmRCJ.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heme/theme1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316</TotalTime>
  <Words>618</Words>
  <Application>Microsoft Office PowerPoint</Application>
  <PresentationFormat>Widescreen</PresentationFormat>
  <Paragraphs>50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8" baseType="lpstr">
      <vt:lpstr>Arial</vt:lpstr>
      <vt:lpstr>Trebuchet MS</vt:lpstr>
      <vt:lpstr>Wingdings 3</vt:lpstr>
      <vt:lpstr>Facet</vt:lpstr>
      <vt:lpstr>think-cell Slide</vt:lpstr>
      <vt:lpstr>SQL Introduction</vt:lpstr>
      <vt:lpstr>What is a Relational Database?</vt:lpstr>
      <vt:lpstr>What is SQL?</vt:lpstr>
      <vt:lpstr>Datatypes in SQL</vt:lpstr>
      <vt:lpstr>Types of SQL commands</vt:lpstr>
      <vt:lpstr>Structure of SQL Query</vt:lpstr>
      <vt:lpstr>SQL Joins</vt:lpstr>
      <vt:lpstr>Types of SQL Joins</vt:lpstr>
      <vt:lpstr>Inner Join</vt:lpstr>
      <vt:lpstr>Left Join</vt:lpstr>
      <vt:lpstr>Right Join</vt:lpstr>
      <vt:lpstr>Full Join</vt:lpstr>
      <vt:lpstr>SQL Un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hingia, Ayushman</dc:creator>
  <cp:lastModifiedBy>Dehingia, Ayushman</cp:lastModifiedBy>
  <cp:revision>44</cp:revision>
  <dcterms:created xsi:type="dcterms:W3CDTF">2019-08-21T09:59:37Z</dcterms:created>
  <dcterms:modified xsi:type="dcterms:W3CDTF">2019-08-26T10:44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7cb76b2-10b8-4fe1-93d4-2202842406cd_Enabled">
    <vt:lpwstr>True</vt:lpwstr>
  </property>
  <property fmtid="{D5CDD505-2E9C-101B-9397-08002B2CF9AE}" pid="3" name="MSIP_Label_17cb76b2-10b8-4fe1-93d4-2202842406cd_SiteId">
    <vt:lpwstr>945c199a-83a2-4e80-9f8c-5a91be5752dd</vt:lpwstr>
  </property>
  <property fmtid="{D5CDD505-2E9C-101B-9397-08002B2CF9AE}" pid="4" name="MSIP_Label_17cb76b2-10b8-4fe1-93d4-2202842406cd_Owner">
    <vt:lpwstr>Ayushman_Dehingia@Dell.com</vt:lpwstr>
  </property>
  <property fmtid="{D5CDD505-2E9C-101B-9397-08002B2CF9AE}" pid="5" name="MSIP_Label_17cb76b2-10b8-4fe1-93d4-2202842406cd_SetDate">
    <vt:lpwstr>2019-08-21T09:59:51.3585057Z</vt:lpwstr>
  </property>
  <property fmtid="{D5CDD505-2E9C-101B-9397-08002B2CF9AE}" pid="6" name="MSIP_Label_17cb76b2-10b8-4fe1-93d4-2202842406cd_Name">
    <vt:lpwstr>External Public</vt:lpwstr>
  </property>
  <property fmtid="{D5CDD505-2E9C-101B-9397-08002B2CF9AE}" pid="7" name="MSIP_Label_17cb76b2-10b8-4fe1-93d4-2202842406cd_Application">
    <vt:lpwstr>Microsoft Azure Information Protection</vt:lpwstr>
  </property>
  <property fmtid="{D5CDD505-2E9C-101B-9397-08002B2CF9AE}" pid="8" name="MSIP_Label_17cb76b2-10b8-4fe1-93d4-2202842406cd_Extended_MSFT_Method">
    <vt:lpwstr>Manual</vt:lpwstr>
  </property>
  <property fmtid="{D5CDD505-2E9C-101B-9397-08002B2CF9AE}" pid="9" name="aiplabel">
    <vt:lpwstr>External Public</vt:lpwstr>
  </property>
</Properties>
</file>